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F5E3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C74ADA-653E-4A14-8111-A286930A30DB}" v="258" dt="2021-03-01T18:28:29.1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7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chit Reddy Gayam" userId="637d087b3ddaf95f" providerId="LiveId" clId="{89C74ADA-653E-4A14-8111-A286930A30DB}"/>
    <pc:docChg chg="undo custSel addSld delSld modSld modMainMaster">
      <pc:chgData name="Sachit Reddy Gayam" userId="637d087b3ddaf95f" providerId="LiveId" clId="{89C74ADA-653E-4A14-8111-A286930A30DB}" dt="2021-03-01T18:28:20.737" v="1675" actId="1036"/>
      <pc:docMkLst>
        <pc:docMk/>
      </pc:docMkLst>
      <pc:sldChg chg="addSp delSp modSp new add mod">
        <pc:chgData name="Sachit Reddy Gayam" userId="637d087b3ddaf95f" providerId="LiveId" clId="{89C74ADA-653E-4A14-8111-A286930A30DB}" dt="2021-03-01T18:28:20.737" v="1675" actId="1036"/>
        <pc:sldMkLst>
          <pc:docMk/>
          <pc:sldMk cId="1343081281" sldId="256"/>
        </pc:sldMkLst>
        <pc:spChg chg="del">
          <ac:chgData name="Sachit Reddy Gayam" userId="637d087b3ddaf95f" providerId="LiveId" clId="{89C74ADA-653E-4A14-8111-A286930A30DB}" dt="2021-03-01T15:07:36.546" v="2" actId="478"/>
          <ac:spMkLst>
            <pc:docMk/>
            <pc:sldMk cId="1343081281" sldId="256"/>
            <ac:spMk id="2" creationId="{BB40B7BC-1188-4EFF-B3C1-63BD30DB3D31}"/>
          </ac:spMkLst>
        </pc:spChg>
        <pc:spChg chg="del">
          <ac:chgData name="Sachit Reddy Gayam" userId="637d087b3ddaf95f" providerId="LiveId" clId="{89C74ADA-653E-4A14-8111-A286930A30DB}" dt="2021-03-01T15:07:38.796" v="71" actId="478"/>
          <ac:spMkLst>
            <pc:docMk/>
            <pc:sldMk cId="1343081281" sldId="256"/>
            <ac:spMk id="3" creationId="{12EA1836-AB26-4345-9948-B3AF74E4092A}"/>
          </ac:spMkLst>
        </pc:spChg>
        <pc:spChg chg="add mod">
          <ac:chgData name="Sachit Reddy Gayam" userId="637d087b3ddaf95f" providerId="LiveId" clId="{89C74ADA-653E-4A14-8111-A286930A30DB}" dt="2021-03-01T18:28:20.737" v="1675" actId="1036"/>
          <ac:spMkLst>
            <pc:docMk/>
            <pc:sldMk cId="1343081281" sldId="256"/>
            <ac:spMk id="7" creationId="{BDBC054B-5A20-4CB2-96B7-EEBC5478A41F}"/>
          </ac:spMkLst>
        </pc:spChg>
        <pc:spChg chg="add mod">
          <ac:chgData name="Sachit Reddy Gayam" userId="637d087b3ddaf95f" providerId="LiveId" clId="{89C74ADA-653E-4A14-8111-A286930A30DB}" dt="2021-03-01T18:28:20.737" v="1675" actId="1036"/>
          <ac:spMkLst>
            <pc:docMk/>
            <pc:sldMk cId="1343081281" sldId="256"/>
            <ac:spMk id="8" creationId="{5B596923-E198-4F5C-9170-90AFC562F51D}"/>
          </ac:spMkLst>
        </pc:spChg>
        <pc:spChg chg="add del">
          <ac:chgData name="Sachit Reddy Gayam" userId="637d087b3ddaf95f" providerId="LiveId" clId="{89C74ADA-653E-4A14-8111-A286930A30DB}" dt="2021-03-01T16:19:49.384" v="280" actId="478"/>
          <ac:spMkLst>
            <pc:docMk/>
            <pc:sldMk cId="1343081281" sldId="256"/>
            <ac:spMk id="9" creationId="{2D31A0F2-5EB7-407A-AC86-C4E59A0D9279}"/>
          </ac:spMkLst>
        </pc:spChg>
        <pc:spChg chg="add del mod">
          <ac:chgData name="Sachit Reddy Gayam" userId="637d087b3ddaf95f" providerId="LiveId" clId="{89C74ADA-653E-4A14-8111-A286930A30DB}" dt="2021-03-01T18:25:54.544" v="1628" actId="478"/>
          <ac:spMkLst>
            <pc:docMk/>
            <pc:sldMk cId="1343081281" sldId="256"/>
            <ac:spMk id="10" creationId="{0E599002-F8B9-4596-9CE3-D49B96E416C4}"/>
          </ac:spMkLst>
        </pc:spChg>
        <pc:spChg chg="add del mod">
          <ac:chgData name="Sachit Reddy Gayam" userId="637d087b3ddaf95f" providerId="LiveId" clId="{89C74ADA-653E-4A14-8111-A286930A30DB}" dt="2021-03-01T18:26:33.729" v="1634" actId="478"/>
          <ac:spMkLst>
            <pc:docMk/>
            <pc:sldMk cId="1343081281" sldId="256"/>
            <ac:spMk id="11" creationId="{47CA02E6-F186-4198-A17E-FBF6850D60BF}"/>
          </ac:spMkLst>
        </pc:spChg>
        <pc:spChg chg="add del mod">
          <ac:chgData name="Sachit Reddy Gayam" userId="637d087b3ddaf95f" providerId="LiveId" clId="{89C74ADA-653E-4A14-8111-A286930A30DB}" dt="2021-03-01T17:45:18.437" v="571" actId="478"/>
          <ac:spMkLst>
            <pc:docMk/>
            <pc:sldMk cId="1343081281" sldId="256"/>
            <ac:spMk id="18" creationId="{C849F68C-C02A-411C-AE9A-A1346B0D24A2}"/>
          </ac:spMkLst>
        </pc:spChg>
        <pc:spChg chg="add del mod">
          <ac:chgData name="Sachit Reddy Gayam" userId="637d087b3ddaf95f" providerId="LiveId" clId="{89C74ADA-653E-4A14-8111-A286930A30DB}" dt="2021-03-01T18:25:21.439" v="1623" actId="478"/>
          <ac:spMkLst>
            <pc:docMk/>
            <pc:sldMk cId="1343081281" sldId="256"/>
            <ac:spMk id="19" creationId="{07CB38E3-DE76-4E73-BBC5-C75DCBD4971A}"/>
          </ac:spMkLst>
        </pc:spChg>
        <pc:spChg chg="add mod">
          <ac:chgData name="Sachit Reddy Gayam" userId="637d087b3ddaf95f" providerId="LiveId" clId="{89C74ADA-653E-4A14-8111-A286930A30DB}" dt="2021-03-01T18:28:02.980" v="1658" actId="207"/>
          <ac:spMkLst>
            <pc:docMk/>
            <pc:sldMk cId="1343081281" sldId="256"/>
            <ac:spMk id="23" creationId="{02380CD3-42CF-4838-9459-79D217061CEC}"/>
          </ac:spMkLst>
        </pc:spChg>
        <pc:spChg chg="add mod">
          <ac:chgData name="Sachit Reddy Gayam" userId="637d087b3ddaf95f" providerId="LiveId" clId="{89C74ADA-653E-4A14-8111-A286930A30DB}" dt="2021-03-01T18:21:52.618" v="1621" actId="20577"/>
          <ac:spMkLst>
            <pc:docMk/>
            <pc:sldMk cId="1343081281" sldId="256"/>
            <ac:spMk id="24" creationId="{CC09AD93-B4B2-470C-A3C4-5D8D157CDDDD}"/>
          </ac:spMkLst>
        </pc:spChg>
        <pc:spChg chg="add del mod">
          <ac:chgData name="Sachit Reddy Gayam" userId="637d087b3ddaf95f" providerId="LiveId" clId="{89C74ADA-653E-4A14-8111-A286930A30DB}" dt="2021-03-01T18:25:44.130" v="1625" actId="478"/>
          <ac:spMkLst>
            <pc:docMk/>
            <pc:sldMk cId="1343081281" sldId="256"/>
            <ac:spMk id="25" creationId="{D4FAC0A3-28D7-46B3-A895-33DF06E4D9A8}"/>
          </ac:spMkLst>
        </pc:spChg>
        <pc:spChg chg="add mod">
          <ac:chgData name="Sachit Reddy Gayam" userId="637d087b3ddaf95f" providerId="LiveId" clId="{89C74ADA-653E-4A14-8111-A286930A30DB}" dt="2021-03-01T18:26:22.463" v="1633" actId="1076"/>
          <ac:spMkLst>
            <pc:docMk/>
            <pc:sldMk cId="1343081281" sldId="256"/>
            <ac:spMk id="26" creationId="{C642AD31-EF18-45C5-85C2-249E8CAC77DB}"/>
          </ac:spMkLst>
        </pc:spChg>
        <pc:spChg chg="add del mod">
          <ac:chgData name="Sachit Reddy Gayam" userId="637d087b3ddaf95f" providerId="LiveId" clId="{89C74ADA-653E-4A14-8111-A286930A30DB}" dt="2021-03-01T18:25:46.784" v="1626" actId="478"/>
          <ac:spMkLst>
            <pc:docMk/>
            <pc:sldMk cId="1343081281" sldId="256"/>
            <ac:spMk id="27" creationId="{369A406A-C717-4F41-85C3-8A77DF25E7DF}"/>
          </ac:spMkLst>
        </pc:spChg>
        <pc:spChg chg="add del mod">
          <ac:chgData name="Sachit Reddy Gayam" userId="637d087b3ddaf95f" providerId="LiveId" clId="{89C74ADA-653E-4A14-8111-A286930A30DB}" dt="2021-03-01T18:25:44.130" v="1625" actId="478"/>
          <ac:spMkLst>
            <pc:docMk/>
            <pc:sldMk cId="1343081281" sldId="256"/>
            <ac:spMk id="30" creationId="{E1AF9FDF-9D9B-41B1-8DF9-7C0939213C34}"/>
          </ac:spMkLst>
        </pc:spChg>
        <pc:spChg chg="add del mod">
          <ac:chgData name="Sachit Reddy Gayam" userId="637d087b3ddaf95f" providerId="LiveId" clId="{89C74ADA-653E-4A14-8111-A286930A30DB}" dt="2021-03-01T18:27:37.642" v="1644" actId="478"/>
          <ac:spMkLst>
            <pc:docMk/>
            <pc:sldMk cId="1343081281" sldId="256"/>
            <ac:spMk id="33" creationId="{4D450B84-5A00-475F-B2FC-5746287D769B}"/>
          </ac:spMkLst>
        </pc:spChg>
        <pc:spChg chg="add del mod">
          <ac:chgData name="Sachit Reddy Gayam" userId="637d087b3ddaf95f" providerId="LiveId" clId="{89C74ADA-653E-4A14-8111-A286930A30DB}" dt="2021-03-01T18:27:09.554" v="1638" actId="478"/>
          <ac:spMkLst>
            <pc:docMk/>
            <pc:sldMk cId="1343081281" sldId="256"/>
            <ac:spMk id="34" creationId="{FF2E0B1B-65F9-49EF-A084-6DF8F486CE3F}"/>
          </ac:spMkLst>
        </pc:spChg>
        <pc:spChg chg="add del mod">
          <ac:chgData name="Sachit Reddy Gayam" userId="637d087b3ddaf95f" providerId="LiveId" clId="{89C74ADA-653E-4A14-8111-A286930A30DB}" dt="2021-03-01T18:27:34.561" v="1643" actId="478"/>
          <ac:spMkLst>
            <pc:docMk/>
            <pc:sldMk cId="1343081281" sldId="256"/>
            <ac:spMk id="35" creationId="{1BCA4D1E-0228-40F5-B75F-A63B8DF9C574}"/>
          </ac:spMkLst>
        </pc:spChg>
        <pc:graphicFrameChg chg="add mod ord modVis">
          <ac:chgData name="Sachit Reddy Gayam" userId="637d087b3ddaf95f" providerId="LiveId" clId="{89C74ADA-653E-4A14-8111-A286930A30DB}" dt="2021-03-01T15:07:37.760" v="70"/>
          <ac:graphicFrameMkLst>
            <pc:docMk/>
            <pc:sldMk cId="1343081281" sldId="256"/>
            <ac:graphicFrameMk id="4" creationId="{DDEB395F-C5A3-4F06-BC2C-C2918148A9A6}"/>
          </ac:graphicFrameMkLst>
        </pc:graphicFrameChg>
        <pc:picChg chg="add mod">
          <ac:chgData name="Sachit Reddy Gayam" userId="637d087b3ddaf95f" providerId="LiveId" clId="{89C74ADA-653E-4A14-8111-A286930A30DB}" dt="2021-03-01T18:11:06.447" v="1424" actId="1076"/>
          <ac:picMkLst>
            <pc:docMk/>
            <pc:sldMk cId="1343081281" sldId="256"/>
            <ac:picMk id="6" creationId="{D9E21D82-BC2E-4190-B313-CB8408C4BA14}"/>
          </ac:picMkLst>
        </pc:picChg>
        <pc:picChg chg="add del mod">
          <ac:chgData name="Sachit Reddy Gayam" userId="637d087b3ddaf95f" providerId="LiveId" clId="{89C74ADA-653E-4A14-8111-A286930A30DB}" dt="2021-03-01T18:26:33.729" v="1634" actId="478"/>
          <ac:picMkLst>
            <pc:docMk/>
            <pc:sldMk cId="1343081281" sldId="256"/>
            <ac:picMk id="13" creationId="{AE6ADE83-EA5A-49B0-A398-9F952279ADA4}"/>
          </ac:picMkLst>
        </pc:picChg>
        <pc:picChg chg="add del mod">
          <ac:chgData name="Sachit Reddy Gayam" userId="637d087b3ddaf95f" providerId="LiveId" clId="{89C74ADA-653E-4A14-8111-A286930A30DB}" dt="2021-03-01T18:25:56.865" v="1629" actId="478"/>
          <ac:picMkLst>
            <pc:docMk/>
            <pc:sldMk cId="1343081281" sldId="256"/>
            <ac:picMk id="15" creationId="{F49EDB82-6052-41D7-8BA9-DB11A7E22A00}"/>
          </ac:picMkLst>
        </pc:picChg>
        <pc:picChg chg="add del mod">
          <ac:chgData name="Sachit Reddy Gayam" userId="637d087b3ddaf95f" providerId="LiveId" clId="{89C74ADA-653E-4A14-8111-A286930A30DB}" dt="2021-03-01T17:45:27.136" v="572" actId="478"/>
          <ac:picMkLst>
            <pc:docMk/>
            <pc:sldMk cId="1343081281" sldId="256"/>
            <ac:picMk id="17" creationId="{BD121AA8-5E32-4137-9A9C-B534971AEF71}"/>
          </ac:picMkLst>
        </pc:picChg>
        <pc:picChg chg="add del mod">
          <ac:chgData name="Sachit Reddy Gayam" userId="637d087b3ddaf95f" providerId="LiveId" clId="{89C74ADA-653E-4A14-8111-A286930A30DB}" dt="2021-03-01T17:54:13.772" v="826" actId="478"/>
          <ac:picMkLst>
            <pc:docMk/>
            <pc:sldMk cId="1343081281" sldId="256"/>
            <ac:picMk id="21" creationId="{9807C004-15DB-4EA3-9387-80A41954EE74}"/>
          </ac:picMkLst>
        </pc:picChg>
        <pc:picChg chg="add del mod">
          <ac:chgData name="Sachit Reddy Gayam" userId="637d087b3ddaf95f" providerId="LiveId" clId="{89C74ADA-653E-4A14-8111-A286930A30DB}" dt="2021-03-01T18:25:44.130" v="1625" actId="478"/>
          <ac:picMkLst>
            <pc:docMk/>
            <pc:sldMk cId="1343081281" sldId="256"/>
            <ac:picMk id="22" creationId="{F9EE5721-EB1D-4904-96D6-EC886DF04C7B}"/>
          </ac:picMkLst>
        </pc:picChg>
        <pc:picChg chg="add del mod">
          <ac:chgData name="Sachit Reddy Gayam" userId="637d087b3ddaf95f" providerId="LiveId" clId="{89C74ADA-653E-4A14-8111-A286930A30DB}" dt="2021-03-01T18:01:30.887" v="1076" actId="478"/>
          <ac:picMkLst>
            <pc:docMk/>
            <pc:sldMk cId="1343081281" sldId="256"/>
            <ac:picMk id="28" creationId="{33D56926-014B-4905-9B85-10E601A13298}"/>
          </ac:picMkLst>
        </pc:picChg>
        <pc:picChg chg="add del mod">
          <ac:chgData name="Sachit Reddy Gayam" userId="637d087b3ddaf95f" providerId="LiveId" clId="{89C74ADA-653E-4A14-8111-A286930A30DB}" dt="2021-03-01T18:25:44.130" v="1625" actId="478"/>
          <ac:picMkLst>
            <pc:docMk/>
            <pc:sldMk cId="1343081281" sldId="256"/>
            <ac:picMk id="29" creationId="{BF981E05-6696-48BA-AB5E-A06E242B56FA}"/>
          </ac:picMkLst>
        </pc:picChg>
        <pc:picChg chg="add del mod">
          <ac:chgData name="Sachit Reddy Gayam" userId="637d087b3ddaf95f" providerId="LiveId" clId="{89C74ADA-653E-4A14-8111-A286930A30DB}" dt="2021-03-01T18:25:21.439" v="1623" actId="478"/>
          <ac:picMkLst>
            <pc:docMk/>
            <pc:sldMk cId="1343081281" sldId="256"/>
            <ac:picMk id="1026" creationId="{D83834D5-C70C-40BE-87B5-C448DD89FD26}"/>
          </ac:picMkLst>
        </pc:picChg>
        <pc:picChg chg="add del mod">
          <ac:chgData name="Sachit Reddy Gayam" userId="637d087b3ddaf95f" providerId="LiveId" clId="{89C74ADA-653E-4A14-8111-A286930A30DB}" dt="2021-03-01T18:25:48.565" v="1627" actId="478"/>
          <ac:picMkLst>
            <pc:docMk/>
            <pc:sldMk cId="1343081281" sldId="256"/>
            <ac:picMk id="1028" creationId="{5AF75FCE-1993-497B-8BEF-3C5348F862F6}"/>
          </ac:picMkLst>
        </pc:picChg>
      </pc:sldChg>
      <pc:sldChg chg="add del">
        <pc:chgData name="Sachit Reddy Gayam" userId="637d087b3ddaf95f" providerId="LiveId" clId="{89C74ADA-653E-4A14-8111-A286930A30DB}" dt="2021-03-01T18:03:57.256" v="1141" actId="47"/>
        <pc:sldMkLst>
          <pc:docMk/>
          <pc:sldMk cId="3962224051" sldId="257"/>
        </pc:sldMkLst>
      </pc:sldChg>
      <pc:sldChg chg="addSp delSp modSp add mod">
        <pc:chgData name="Sachit Reddy Gayam" userId="637d087b3ddaf95f" providerId="LiveId" clId="{89C74ADA-653E-4A14-8111-A286930A30DB}" dt="2021-03-01T18:20:51.685" v="1611" actId="20577"/>
        <pc:sldMkLst>
          <pc:docMk/>
          <pc:sldMk cId="4282130169" sldId="257"/>
        </pc:sldMkLst>
        <pc:spChg chg="del">
          <ac:chgData name="Sachit Reddy Gayam" userId="637d087b3ddaf95f" providerId="LiveId" clId="{89C74ADA-653E-4A14-8111-A286930A30DB}" dt="2021-03-01T18:04:07.075" v="1144" actId="478"/>
          <ac:spMkLst>
            <pc:docMk/>
            <pc:sldMk cId="4282130169" sldId="257"/>
            <ac:spMk id="11" creationId="{47CA02E6-F186-4198-A17E-FBF6850D60BF}"/>
          </ac:spMkLst>
        </pc:spChg>
        <pc:spChg chg="mod">
          <ac:chgData name="Sachit Reddy Gayam" userId="637d087b3ddaf95f" providerId="LiveId" clId="{89C74ADA-653E-4A14-8111-A286930A30DB}" dt="2021-03-01T18:19:23.307" v="1542" actId="20577"/>
          <ac:spMkLst>
            <pc:docMk/>
            <pc:sldMk cId="4282130169" sldId="257"/>
            <ac:spMk id="19" creationId="{07CB38E3-DE76-4E73-BBC5-C75DCBD4971A}"/>
          </ac:spMkLst>
        </pc:spChg>
        <pc:spChg chg="mod">
          <ac:chgData name="Sachit Reddy Gayam" userId="637d087b3ddaf95f" providerId="LiveId" clId="{89C74ADA-653E-4A14-8111-A286930A30DB}" dt="2021-03-01T18:20:51.685" v="1611" actId="20577"/>
          <ac:spMkLst>
            <pc:docMk/>
            <pc:sldMk cId="4282130169" sldId="257"/>
            <ac:spMk id="27" creationId="{369A406A-C717-4F41-85C3-8A77DF25E7DF}"/>
          </ac:spMkLst>
        </pc:spChg>
        <pc:picChg chg="del">
          <ac:chgData name="Sachit Reddy Gayam" userId="637d087b3ddaf95f" providerId="LiveId" clId="{89C74ADA-653E-4A14-8111-A286930A30DB}" dt="2021-03-01T18:04:03.555" v="1143" actId="478"/>
          <ac:picMkLst>
            <pc:docMk/>
            <pc:sldMk cId="4282130169" sldId="257"/>
            <ac:picMk id="13" creationId="{AE6ADE83-EA5A-49B0-A398-9F952279ADA4}"/>
          </ac:picMkLst>
        </pc:picChg>
        <pc:picChg chg="del">
          <ac:chgData name="Sachit Reddy Gayam" userId="637d087b3ddaf95f" providerId="LiveId" clId="{89C74ADA-653E-4A14-8111-A286930A30DB}" dt="2021-03-01T18:18:20.208" v="1487" actId="478"/>
          <ac:picMkLst>
            <pc:docMk/>
            <pc:sldMk cId="4282130169" sldId="257"/>
            <ac:picMk id="1026" creationId="{D83834D5-C70C-40BE-87B5-C448DD89FD26}"/>
          </ac:picMkLst>
        </pc:picChg>
        <pc:picChg chg="del">
          <ac:chgData name="Sachit Reddy Gayam" userId="637d087b3ddaf95f" providerId="LiveId" clId="{89C74ADA-653E-4A14-8111-A286930A30DB}" dt="2021-03-01T18:20:28.350" v="1573" actId="478"/>
          <ac:picMkLst>
            <pc:docMk/>
            <pc:sldMk cId="4282130169" sldId="257"/>
            <ac:picMk id="1028" creationId="{5AF75FCE-1993-497B-8BEF-3C5348F862F6}"/>
          </ac:picMkLst>
        </pc:picChg>
        <pc:picChg chg="add mod">
          <ac:chgData name="Sachit Reddy Gayam" userId="637d087b3ddaf95f" providerId="LiveId" clId="{89C74ADA-653E-4A14-8111-A286930A30DB}" dt="2021-03-01T18:19:09.948" v="1502" actId="1036"/>
          <ac:picMkLst>
            <pc:docMk/>
            <pc:sldMk cId="4282130169" sldId="257"/>
            <ac:picMk id="2050" creationId="{C1B0C9E6-3EB8-4B5C-A59E-6C28B93571AE}"/>
          </ac:picMkLst>
        </pc:picChg>
        <pc:picChg chg="add mod">
          <ac:chgData name="Sachit Reddy Gayam" userId="637d087b3ddaf95f" providerId="LiveId" clId="{89C74ADA-653E-4A14-8111-A286930A30DB}" dt="2021-03-01T18:20:41.337" v="1583" actId="208"/>
          <ac:picMkLst>
            <pc:docMk/>
            <pc:sldMk cId="4282130169" sldId="257"/>
            <ac:picMk id="2052" creationId="{0C430EE0-E9B8-4A81-B327-8CB6E4E08EE4}"/>
          </ac:picMkLst>
        </pc:picChg>
      </pc:sldChg>
      <pc:sldChg chg="add">
        <pc:chgData name="Sachit Reddy Gayam" userId="637d087b3ddaf95f" providerId="LiveId" clId="{89C74ADA-653E-4A14-8111-A286930A30DB}" dt="2021-03-01T18:25:11.421" v="1622"/>
        <pc:sldMkLst>
          <pc:docMk/>
          <pc:sldMk cId="3907005615" sldId="258"/>
        </pc:sldMkLst>
      </pc:sldChg>
      <pc:sldMasterChg chg="addSp delSp modSp mod">
        <pc:chgData name="Sachit Reddy Gayam" userId="637d087b3ddaf95f" providerId="LiveId" clId="{89C74ADA-653E-4A14-8111-A286930A30DB}" dt="2021-03-01T15:07:37.712" v="55"/>
        <pc:sldMasterMkLst>
          <pc:docMk/>
          <pc:sldMasterMk cId="1731640444" sldId="2147483648"/>
        </pc:sldMasterMkLst>
        <pc:spChg chg="mod">
          <ac:chgData name="Sachit Reddy Gayam" userId="637d087b3ddaf95f" providerId="LiveId" clId="{89C74ADA-653E-4A14-8111-A286930A30DB}" dt="2021-03-01T15:07:37.129" v="3" actId="948"/>
          <ac:spMkLst>
            <pc:docMk/>
            <pc:sldMasterMk cId="1731640444" sldId="2147483648"/>
            <ac:spMk id="2" creationId="{45C686D4-030B-46FB-86AA-8EFBA8D7AE05}"/>
          </ac:spMkLst>
        </pc:spChg>
        <pc:spChg chg="add del mod modVis">
          <ac:chgData name="Sachit Reddy Gayam" userId="637d087b3ddaf95f" providerId="LiveId" clId="{89C74ADA-653E-4A14-8111-A286930A30DB}" dt="2021-03-01T15:07:37.600" v="40"/>
          <ac:spMkLst>
            <pc:docMk/>
            <pc:sldMasterMk cId="1731640444" sldId="2147483648"/>
            <ac:spMk id="7" creationId="{7FD6A4E3-0775-4C19-9020-0AD9B0DD069C}"/>
          </ac:spMkLst>
        </pc:spChg>
        <pc:graphicFrameChg chg="add mod ord modVis">
          <ac:chgData name="Sachit Reddy Gayam" userId="637d087b3ddaf95f" providerId="LiveId" clId="{89C74ADA-653E-4A14-8111-A286930A30DB}" dt="2021-03-01T15:07:37.712" v="55"/>
          <ac:graphicFrameMkLst>
            <pc:docMk/>
            <pc:sldMasterMk cId="1731640444" sldId="2147483648"/>
            <ac:graphicFrameMk id="8" creationId="{0186478F-727F-401F-A887-A48EEAC07009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6FDFA-0A7F-428E-BA6B-35DF093363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2CC6D6-4B18-4501-A82B-CD329F32AD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D1D77F-AB03-4A2C-BB5C-ABDCDA549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69B79-E878-4EB0-ABB4-1916EC58EA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5018CF-AD87-4B11-AAEE-011BDD28E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982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D76890-2543-4485-BF32-3710C732D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95667A-AA3D-40C6-A929-161DF570CB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B1989-04D3-47C5-966E-DAA59E893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59C9A9-1BC0-46D5-AFAB-4CCC5BC25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5A641-0563-41A7-B82A-8B7B1F4FB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6490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35ECE8F-B6F6-4BA6-8E7D-9893C8838C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E8E7FF-CF45-4610-98C9-D13F356010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1A3D9F-20CF-4E45-BBAC-D1F3C5B75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BC3488-472E-4CE5-8BD4-7183AC440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B86F70-6E42-4336-BF0B-7F2CC0A5A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54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79835-6103-4D69-9BFA-51D1BE56A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6D8C5-A0CD-4569-86D2-D405D7898B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2C1DCA-8E46-4C1D-A949-7217D437B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362871-A7FB-47A0-9813-D25FA2484E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E9BCC-A2CA-4F9D-9665-A4A3818D0D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515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B3957-70CF-4DF5-9B0A-F44533A5D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B63B34-760E-4D0E-8A4D-1ECA562002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27DD99-0680-42A6-8722-14E87940A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5A3E2-2620-49BA-9977-0AEE3CE71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1D3D3C-2B5F-4BCA-932E-582B693ED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799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48773-A4F9-445A-B340-2B1F3D0E4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40E45-98DA-4AFD-9B16-666B064E1B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C9721F-8729-4FE0-8F7F-5296181E56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A6B044-AB5A-4ECD-A69F-38A93995D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6A3864-B50C-47AB-A203-536065898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CB6945-EA22-41BE-9DD2-B12F7CD9C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2233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71166-D67C-400E-975E-C29D0B667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FFAB7D-8968-476F-847B-1DC9E99B24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230784-98F8-42F4-B809-F9D011F1F6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14A707-5D29-458F-AC51-FE0A24F066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04ABEF-96AC-4770-B837-F696A8FA7F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C77F29-DFFD-45C8-B9F0-3C178D050C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82E209C-E74E-4159-9A7A-B8133CA99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E9824B-5589-4B3E-A890-40A0598B1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681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CB808-F9D6-47CF-85C7-603C6FCB8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45BF7C-3F22-44ED-8158-FB609EC1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A480C7-278E-4605-8C28-222B8BA66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16A49A-7060-488F-8257-7B45B44E5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5519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7EA6C-4B74-4108-9156-6EA4F71EA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84AD36-E845-459A-AD4A-76FC441CF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A99101-560E-4EC1-9E92-1E6A52689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9880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94DE1D-BB1A-4715-A601-2998E0C03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6A9D60-589A-49AA-B974-2786900917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CB7718-3647-4071-9B0A-28E090165D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B19333-B5BB-4FB8-8F0D-B16F42AE2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6BB7C5-EE24-4DFF-A6D7-BCA5D95AC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79E1C4-FE91-43DB-9B88-3C09BC22C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329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8410A-E0AB-4B19-843E-7E575D4AA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800E32-4AFA-49A1-A537-CBF0C38D72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210A17-3CA4-4B3C-8B1D-3DF9325764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7177EC-23BD-478D-97CF-DDE9E5432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C96175-6411-4835-AFC1-9850D5812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FF812C-A438-4631-B9F5-B7F47B838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782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186478F-727F-401F-A887-A48EEAC070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9506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186478F-727F-401F-A887-A48EEAC070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C686D4-030B-46FB-86AA-8EFBA8D7A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8A4EA6-6D3E-4579-8EA4-CFD6D5EA33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0D5101-E726-490C-BC6A-B08C74871F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2DB922-AAE1-4C02-BA79-A326F518E2A2}" type="datetimeFigureOut">
              <a:rPr lang="en-US" smtClean="0"/>
              <a:t>3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7746C1-FCD7-4D8C-8A2A-63962D6961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B33092-4D42-4B35-8C2C-05F9FCC52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98AD37-831C-4E92-9FD1-633FCF53F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640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EB395F-C5A3-4F06-BC2C-C2918148A9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692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EB395F-C5A3-4F06-BC2C-C2918148A9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D9E21D82-BC2E-4190-B313-CB8408C4BA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31275"/>
            <a:ext cx="12192000" cy="674753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DBC054B-5A20-4CB2-96B7-EEBC5478A41F}"/>
              </a:ext>
            </a:extLst>
          </p:cNvPr>
          <p:cNvSpPr/>
          <p:nvPr/>
        </p:nvSpPr>
        <p:spPr>
          <a:xfrm>
            <a:off x="662152" y="903891"/>
            <a:ext cx="11035856" cy="373111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ysClr val="windowText" lastClr="000000"/>
                </a:solidFill>
              </a:rPr>
              <a:t>Top Navigation: 	</a:t>
            </a:r>
            <a:r>
              <a:rPr lang="en-US" b="1" dirty="0">
                <a:solidFill>
                  <a:srgbClr val="7030A0"/>
                </a:solidFill>
              </a:rPr>
              <a:t>HOME	TRENDING	SCORING GUIDE	ABOUT US</a:t>
            </a:r>
            <a:r>
              <a:rPr lang="en-US" b="1" dirty="0">
                <a:solidFill>
                  <a:sysClr val="windowText" lastClr="000000"/>
                </a:solidFill>
              </a:rPr>
              <a:t>	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B596923-E198-4F5C-9170-90AFC562F51D}"/>
              </a:ext>
            </a:extLst>
          </p:cNvPr>
          <p:cNvSpPr/>
          <p:nvPr/>
        </p:nvSpPr>
        <p:spPr>
          <a:xfrm>
            <a:off x="8481847" y="903891"/>
            <a:ext cx="3216161" cy="364684"/>
          </a:xfrm>
          <a:prstGeom prst="roundRect">
            <a:avLst/>
          </a:prstGeom>
          <a:gradFill flip="none" rotWithShape="1">
            <a:gsLst>
              <a:gs pos="0">
                <a:srgbClr val="7030A0">
                  <a:tint val="66000"/>
                  <a:satMod val="160000"/>
                </a:srgbClr>
              </a:gs>
              <a:gs pos="50000">
                <a:srgbClr val="7030A0">
                  <a:tint val="44500"/>
                  <a:satMod val="160000"/>
                </a:srgbClr>
              </a:gs>
              <a:gs pos="100000">
                <a:srgbClr val="7030A0">
                  <a:tint val="23500"/>
                  <a:satMod val="160000"/>
                </a:srgb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EARCH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2380CD3-42CF-4838-9459-79D217061CEC}"/>
              </a:ext>
            </a:extLst>
          </p:cNvPr>
          <p:cNvSpPr/>
          <p:nvPr/>
        </p:nvSpPr>
        <p:spPr>
          <a:xfrm>
            <a:off x="8944304" y="2171375"/>
            <a:ext cx="2840940" cy="649527"/>
          </a:xfrm>
          <a:prstGeom prst="roundRect">
            <a:avLst/>
          </a:prstGeom>
          <a:solidFill>
            <a:srgbClr val="7030A0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ignup / Login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C09AD93-B4B2-470C-A3C4-5D8D157CDDDD}"/>
              </a:ext>
            </a:extLst>
          </p:cNvPr>
          <p:cNvSpPr/>
          <p:nvPr/>
        </p:nvSpPr>
        <p:spPr>
          <a:xfrm>
            <a:off x="693679" y="199699"/>
            <a:ext cx="5055479" cy="156921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https://www.disrupttwitter.com/login.html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642AD31-EF18-45C5-85C2-249E8CAC77DB}"/>
              </a:ext>
            </a:extLst>
          </p:cNvPr>
          <p:cNvSpPr/>
          <p:nvPr/>
        </p:nvSpPr>
        <p:spPr>
          <a:xfrm>
            <a:off x="651641" y="2118036"/>
            <a:ext cx="7830206" cy="7028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now how you biased or accurate your information sources are.</a:t>
            </a:r>
          </a:p>
        </p:txBody>
      </p:sp>
    </p:spTree>
    <p:extLst>
      <p:ext uri="{BB962C8B-B14F-4D97-AF65-F5344CB8AC3E}">
        <p14:creationId xmlns:p14="http://schemas.microsoft.com/office/powerpoint/2010/main" val="1343081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EB395F-C5A3-4F06-BC2C-C2918148A9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EB395F-C5A3-4F06-BC2C-C2918148A9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D9E21D82-BC2E-4190-B313-CB8408C4BA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31275"/>
            <a:ext cx="12192000" cy="674753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DBC054B-5A20-4CB2-96B7-EEBC5478A41F}"/>
              </a:ext>
            </a:extLst>
          </p:cNvPr>
          <p:cNvSpPr/>
          <p:nvPr/>
        </p:nvSpPr>
        <p:spPr>
          <a:xfrm>
            <a:off x="662152" y="588583"/>
            <a:ext cx="11035856" cy="373111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ysClr val="windowText" lastClr="000000"/>
                </a:solidFill>
              </a:rPr>
              <a:t>Top Navigation: 	</a:t>
            </a:r>
            <a:r>
              <a:rPr lang="en-US" b="1" dirty="0">
                <a:solidFill>
                  <a:srgbClr val="7030A0"/>
                </a:solidFill>
              </a:rPr>
              <a:t>HOME	TRENDING	SCORING GUIDE	ABOUT US</a:t>
            </a:r>
            <a:r>
              <a:rPr lang="en-US" b="1" dirty="0">
                <a:solidFill>
                  <a:sysClr val="windowText" lastClr="000000"/>
                </a:solidFill>
              </a:rPr>
              <a:t>	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B596923-E198-4F5C-9170-90AFC562F51D}"/>
              </a:ext>
            </a:extLst>
          </p:cNvPr>
          <p:cNvSpPr/>
          <p:nvPr/>
        </p:nvSpPr>
        <p:spPr>
          <a:xfrm>
            <a:off x="8481847" y="588583"/>
            <a:ext cx="3216161" cy="364684"/>
          </a:xfrm>
          <a:prstGeom prst="roundRect">
            <a:avLst/>
          </a:prstGeom>
          <a:gradFill flip="none" rotWithShape="1">
            <a:gsLst>
              <a:gs pos="0">
                <a:srgbClr val="7030A0">
                  <a:tint val="66000"/>
                  <a:satMod val="160000"/>
                </a:srgbClr>
              </a:gs>
              <a:gs pos="50000">
                <a:srgbClr val="7030A0">
                  <a:tint val="44500"/>
                  <a:satMod val="160000"/>
                </a:srgbClr>
              </a:gs>
              <a:gs pos="100000">
                <a:srgbClr val="7030A0">
                  <a:tint val="23500"/>
                  <a:satMod val="160000"/>
                </a:srgb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EARCH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E599002-F8B9-4596-9CE3-D49B96E416C4}"/>
              </a:ext>
            </a:extLst>
          </p:cNvPr>
          <p:cNvSpPr/>
          <p:nvPr/>
        </p:nvSpPr>
        <p:spPr>
          <a:xfrm>
            <a:off x="693680" y="1300248"/>
            <a:ext cx="7893268" cy="980497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ysClr val="windowText" lastClr="000000"/>
                </a:solidFill>
              </a:rPr>
              <a:t>Key Insights:	USA Twitter Users:			Global Users:</a:t>
            </a:r>
          </a:p>
          <a:p>
            <a:r>
              <a:rPr lang="en-US" b="1" dirty="0">
                <a:solidFill>
                  <a:sysClr val="windowText" lastClr="000000"/>
                </a:solidFill>
              </a:rPr>
              <a:t>		Political Inclination:		Political Inclination:</a:t>
            </a:r>
          </a:p>
          <a:p>
            <a:r>
              <a:rPr lang="en-US" b="1" dirty="0">
                <a:solidFill>
                  <a:sysClr val="windowText" lastClr="000000"/>
                </a:solidFill>
              </a:rPr>
              <a:t>		Misinformation:			Misinformation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CA02E6-F186-4198-A17E-FBF6850D60BF}"/>
              </a:ext>
            </a:extLst>
          </p:cNvPr>
          <p:cNvSpPr txBox="1"/>
          <p:nvPr/>
        </p:nvSpPr>
        <p:spPr>
          <a:xfrm>
            <a:off x="8650009" y="1177897"/>
            <a:ext cx="30795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Get your feed insights dail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E6ADE83-EA5A-49B0-A398-9F952279AD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17877" y="1463148"/>
            <a:ext cx="2680131" cy="42445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49EDB82-6052-41D7-8BA9-DB11A7E22A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8935" y="2540467"/>
            <a:ext cx="7888013" cy="884386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7CB38E3-DE76-4E73-BBC5-C75DCBD4971A}"/>
              </a:ext>
            </a:extLst>
          </p:cNvPr>
          <p:cNvSpPr/>
          <p:nvPr/>
        </p:nvSpPr>
        <p:spPr>
          <a:xfrm>
            <a:off x="662152" y="3463860"/>
            <a:ext cx="7893268" cy="1188720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ysClr val="windowText" lastClr="000000"/>
                </a:solidFill>
              </a:rPr>
              <a:t>	The Wall Street Journal: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	Said something ……. about GameStop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D83834D5-C70C-40BE-87B5-C448DD89F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272" y="3668052"/>
            <a:ext cx="761301" cy="761301"/>
          </a:xfrm>
          <a:prstGeom prst="ellipse">
            <a:avLst/>
          </a:prstGeom>
          <a:ln w="63500" cap="rnd">
            <a:solidFill>
              <a:srgbClr val="7030A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9EE5721-EB1D-4904-96D6-EC886DF04C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26077" y="4305099"/>
            <a:ext cx="6139351" cy="328443"/>
          </a:xfrm>
          <a:prstGeom prst="rect">
            <a:avLst/>
          </a:prstGeom>
        </p:spPr>
      </p:pic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2380CD3-42CF-4838-9459-79D217061CEC}"/>
              </a:ext>
            </a:extLst>
          </p:cNvPr>
          <p:cNvSpPr/>
          <p:nvPr/>
        </p:nvSpPr>
        <p:spPr>
          <a:xfrm>
            <a:off x="9017877" y="2229248"/>
            <a:ext cx="2680131" cy="480443"/>
          </a:xfrm>
          <a:prstGeom prst="roundRect">
            <a:avLst/>
          </a:prstGeom>
          <a:solidFill>
            <a:srgbClr val="92D050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Login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C09AD93-B4B2-470C-A3C4-5D8D157CDDDD}"/>
              </a:ext>
            </a:extLst>
          </p:cNvPr>
          <p:cNvSpPr/>
          <p:nvPr/>
        </p:nvSpPr>
        <p:spPr>
          <a:xfrm>
            <a:off x="693679" y="199699"/>
            <a:ext cx="5055479" cy="156921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https://www.disrupttwitter.com/login.html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4FAC0A3-28D7-46B3-A895-33DF06E4D9A8}"/>
              </a:ext>
            </a:extLst>
          </p:cNvPr>
          <p:cNvSpPr/>
          <p:nvPr/>
        </p:nvSpPr>
        <p:spPr>
          <a:xfrm>
            <a:off x="5749158" y="3489436"/>
            <a:ext cx="2732690" cy="54653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isinformation Score: 0.2</a:t>
            </a:r>
          </a:p>
          <a:p>
            <a:pPr algn="ctr"/>
            <a:r>
              <a:rPr lang="en-US" b="1" dirty="0">
                <a:solidFill>
                  <a:srgbClr val="00B050"/>
                </a:solidFill>
              </a:rPr>
              <a:t>Inclination: Left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69A406A-C717-4F41-85C3-8A77DF25E7DF}"/>
              </a:ext>
            </a:extLst>
          </p:cNvPr>
          <p:cNvSpPr/>
          <p:nvPr/>
        </p:nvSpPr>
        <p:spPr>
          <a:xfrm>
            <a:off x="662152" y="4877211"/>
            <a:ext cx="7893268" cy="1188720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ysClr val="windowText" lastClr="000000"/>
                </a:solidFill>
              </a:rPr>
              <a:t>	The New York Times: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	Said something ……. about Nintendo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F981E05-6696-48BA-AB5E-A06E242B56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26077" y="5718450"/>
            <a:ext cx="6139351" cy="328443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1AF9FDF-9D9B-41B1-8DF9-7C0939213C34}"/>
              </a:ext>
            </a:extLst>
          </p:cNvPr>
          <p:cNvSpPr/>
          <p:nvPr/>
        </p:nvSpPr>
        <p:spPr>
          <a:xfrm>
            <a:off x="5749158" y="4902787"/>
            <a:ext cx="2732690" cy="546536"/>
          </a:xfrm>
          <a:prstGeom prst="roundRect">
            <a:avLst/>
          </a:prstGeom>
          <a:solidFill>
            <a:srgbClr val="F5E3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Misinformation Score: 0.8</a:t>
            </a:r>
          </a:p>
          <a:p>
            <a:pPr algn="ctr"/>
            <a:r>
              <a:rPr lang="en-US" b="1" dirty="0">
                <a:solidFill>
                  <a:srgbClr val="FF0000"/>
                </a:solidFill>
              </a:rPr>
              <a:t>Inclination: Right </a:t>
            </a:r>
          </a:p>
        </p:txBody>
      </p:sp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5AF75FCE-1993-497B-8BEF-3C5348F862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90" y="5099240"/>
            <a:ext cx="769883" cy="769883"/>
          </a:xfrm>
          <a:prstGeom prst="ellipse">
            <a:avLst/>
          </a:prstGeom>
          <a:ln w="57150" cap="rnd">
            <a:solidFill>
              <a:srgbClr val="7030A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642AD31-EF18-45C5-85C2-249E8CAC77DB}"/>
              </a:ext>
            </a:extLst>
          </p:cNvPr>
          <p:cNvSpPr/>
          <p:nvPr/>
        </p:nvSpPr>
        <p:spPr>
          <a:xfrm>
            <a:off x="662152" y="6138250"/>
            <a:ext cx="11035856" cy="31130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now how you biased or accurate your information sources are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D450B84-5A00-475F-B2FC-5746287D769B}"/>
              </a:ext>
            </a:extLst>
          </p:cNvPr>
          <p:cNvSpPr txBox="1"/>
          <p:nvPr/>
        </p:nvSpPr>
        <p:spPr>
          <a:xfrm>
            <a:off x="8650009" y="1832821"/>
            <a:ext cx="30795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highlight>
                  <a:srgbClr val="FFFF00"/>
                </a:highlight>
              </a:rPr>
              <a:t>Have an account with us?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F2E0B1B-65F9-49EF-A084-6DF8F486CE3F}"/>
              </a:ext>
            </a:extLst>
          </p:cNvPr>
          <p:cNvSpPr/>
          <p:nvPr/>
        </p:nvSpPr>
        <p:spPr>
          <a:xfrm>
            <a:off x="9496098" y="6169780"/>
            <a:ext cx="731520" cy="274320"/>
          </a:xfrm>
          <a:prstGeom prst="roundRect">
            <a:avLst/>
          </a:prstGeom>
          <a:solidFill>
            <a:srgbClr val="92D050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Login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1BCA4D1E-0228-40F5-B75F-A63B8DF9C574}"/>
              </a:ext>
            </a:extLst>
          </p:cNvPr>
          <p:cNvSpPr/>
          <p:nvPr/>
        </p:nvSpPr>
        <p:spPr>
          <a:xfrm>
            <a:off x="10369504" y="6169780"/>
            <a:ext cx="1005840" cy="274320"/>
          </a:xfrm>
          <a:prstGeom prst="roundRect">
            <a:avLst/>
          </a:prstGeom>
          <a:solidFill>
            <a:srgbClr val="92D050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Signup</a:t>
            </a:r>
          </a:p>
        </p:txBody>
      </p:sp>
    </p:spTree>
    <p:extLst>
      <p:ext uri="{BB962C8B-B14F-4D97-AF65-F5344CB8AC3E}">
        <p14:creationId xmlns:p14="http://schemas.microsoft.com/office/powerpoint/2010/main" val="3907005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EB395F-C5A3-4F06-BC2C-C2918148A9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EB395F-C5A3-4F06-BC2C-C2918148A9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D9E21D82-BC2E-4190-B313-CB8408C4BA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77350"/>
            <a:ext cx="12192000" cy="674753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DBC054B-5A20-4CB2-96B7-EEBC5478A41F}"/>
              </a:ext>
            </a:extLst>
          </p:cNvPr>
          <p:cNvSpPr/>
          <p:nvPr/>
        </p:nvSpPr>
        <p:spPr>
          <a:xfrm>
            <a:off x="662152" y="588582"/>
            <a:ext cx="9522372" cy="420413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ysClr val="windowText" lastClr="000000"/>
                </a:solidFill>
              </a:rPr>
              <a:t>Top Navigation: 	</a:t>
            </a:r>
            <a:r>
              <a:rPr lang="en-US" b="1" dirty="0">
                <a:solidFill>
                  <a:srgbClr val="7030A0"/>
                </a:solidFill>
              </a:rPr>
              <a:t>HOME	TRENDING	SCORING GUIDE	ABOUT US</a:t>
            </a:r>
            <a:r>
              <a:rPr lang="en-US" b="1" dirty="0">
                <a:solidFill>
                  <a:sysClr val="windowText" lastClr="000000"/>
                </a:solidFill>
              </a:rPr>
              <a:t>	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B596923-E198-4F5C-9170-90AFC562F51D}"/>
              </a:ext>
            </a:extLst>
          </p:cNvPr>
          <p:cNvSpPr/>
          <p:nvPr/>
        </p:nvSpPr>
        <p:spPr>
          <a:xfrm>
            <a:off x="8481847" y="588582"/>
            <a:ext cx="1702677" cy="420413"/>
          </a:xfrm>
          <a:prstGeom prst="roundRect">
            <a:avLst/>
          </a:prstGeom>
          <a:gradFill flip="none" rotWithShape="1">
            <a:gsLst>
              <a:gs pos="0">
                <a:srgbClr val="7030A0">
                  <a:tint val="66000"/>
                  <a:satMod val="160000"/>
                </a:srgbClr>
              </a:gs>
              <a:gs pos="50000">
                <a:srgbClr val="7030A0">
                  <a:tint val="44500"/>
                  <a:satMod val="160000"/>
                </a:srgbClr>
              </a:gs>
              <a:gs pos="100000">
                <a:srgbClr val="7030A0">
                  <a:tint val="23500"/>
                  <a:satMod val="160000"/>
                </a:srgb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EARCH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E599002-F8B9-4596-9CE3-D49B96E416C4}"/>
              </a:ext>
            </a:extLst>
          </p:cNvPr>
          <p:cNvSpPr/>
          <p:nvPr/>
        </p:nvSpPr>
        <p:spPr>
          <a:xfrm>
            <a:off x="693680" y="1300248"/>
            <a:ext cx="7893268" cy="980497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ysClr val="windowText" lastClr="000000"/>
                </a:solidFill>
              </a:rPr>
              <a:t>Key Insights:	My followers			People I follow</a:t>
            </a:r>
          </a:p>
          <a:p>
            <a:r>
              <a:rPr lang="en-US" b="1" dirty="0">
                <a:solidFill>
                  <a:sysClr val="windowText" lastClr="000000"/>
                </a:solidFill>
              </a:rPr>
              <a:t>		Political Inclination:		Political Inclination</a:t>
            </a:r>
          </a:p>
          <a:p>
            <a:r>
              <a:rPr lang="en-US" b="1" dirty="0">
                <a:solidFill>
                  <a:sysClr val="windowText" lastClr="000000"/>
                </a:solidFill>
              </a:rPr>
              <a:t>		Misinformation:			Misinformation: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9EDB82-6052-41D7-8BA9-DB11A7E22A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935" y="2540467"/>
            <a:ext cx="7888013" cy="884386"/>
          </a:xfrm>
          <a:prstGeom prst="rect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7CB38E3-DE76-4E73-BBC5-C75DCBD4971A}"/>
              </a:ext>
            </a:extLst>
          </p:cNvPr>
          <p:cNvSpPr/>
          <p:nvPr/>
        </p:nvSpPr>
        <p:spPr>
          <a:xfrm>
            <a:off x="662152" y="3463860"/>
            <a:ext cx="7893268" cy="1188720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ysClr val="windowText" lastClr="000000"/>
                </a:solidFill>
              </a:rPr>
              <a:t>	Washington Post: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	Said something ……. about Amaz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9EE5721-EB1D-4904-96D6-EC886DF04C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26077" y="4305099"/>
            <a:ext cx="6139351" cy="328443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02380CD3-42CF-4838-9459-79D217061CEC}"/>
              </a:ext>
            </a:extLst>
          </p:cNvPr>
          <p:cNvSpPr/>
          <p:nvPr/>
        </p:nvSpPr>
        <p:spPr>
          <a:xfrm>
            <a:off x="10846676" y="554828"/>
            <a:ext cx="1051035" cy="480443"/>
          </a:xfrm>
          <a:prstGeom prst="ellipse">
            <a:avLst/>
          </a:prstGeom>
          <a:solidFill>
            <a:srgbClr val="92D050"/>
          </a:solidFill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Jak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C09AD93-B4B2-470C-A3C4-5D8D157CDDDD}"/>
              </a:ext>
            </a:extLst>
          </p:cNvPr>
          <p:cNvSpPr/>
          <p:nvPr/>
        </p:nvSpPr>
        <p:spPr>
          <a:xfrm>
            <a:off x="693679" y="241739"/>
            <a:ext cx="5055479" cy="156921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https://www.disrupttwitter.com/Jake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4FAC0A3-28D7-46B3-A895-33DF06E4D9A8}"/>
              </a:ext>
            </a:extLst>
          </p:cNvPr>
          <p:cNvSpPr/>
          <p:nvPr/>
        </p:nvSpPr>
        <p:spPr>
          <a:xfrm>
            <a:off x="5749158" y="3489436"/>
            <a:ext cx="2732690" cy="54653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Misinformation Score: 0.2</a:t>
            </a:r>
          </a:p>
          <a:p>
            <a:pPr algn="ctr"/>
            <a:r>
              <a:rPr lang="en-US" b="1" dirty="0">
                <a:solidFill>
                  <a:srgbClr val="00B050"/>
                </a:solidFill>
              </a:rPr>
              <a:t>Inclination: Left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69A406A-C717-4F41-85C3-8A77DF25E7DF}"/>
              </a:ext>
            </a:extLst>
          </p:cNvPr>
          <p:cNvSpPr/>
          <p:nvPr/>
        </p:nvSpPr>
        <p:spPr>
          <a:xfrm>
            <a:off x="662152" y="4877211"/>
            <a:ext cx="7893268" cy="1188720"/>
          </a:xfrm>
          <a:prstGeom prst="roundRect">
            <a:avLst/>
          </a:prstGeom>
          <a:noFill/>
          <a:ln w="285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ysClr val="windowText" lastClr="000000"/>
                </a:solidFill>
              </a:rPr>
              <a:t>	Reuters: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	Said something ……. about Russia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F981E05-6696-48BA-AB5E-A06E242B56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26077" y="5718450"/>
            <a:ext cx="6139351" cy="328443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1AF9FDF-9D9B-41B1-8DF9-7C0939213C34}"/>
              </a:ext>
            </a:extLst>
          </p:cNvPr>
          <p:cNvSpPr/>
          <p:nvPr/>
        </p:nvSpPr>
        <p:spPr>
          <a:xfrm>
            <a:off x="5749158" y="4902787"/>
            <a:ext cx="2732690" cy="546536"/>
          </a:xfrm>
          <a:prstGeom prst="roundRect">
            <a:avLst/>
          </a:prstGeom>
          <a:solidFill>
            <a:srgbClr val="F5E3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Misinformation Score: 0.8</a:t>
            </a:r>
          </a:p>
          <a:p>
            <a:pPr algn="ctr"/>
            <a:r>
              <a:rPr lang="en-US" b="1" dirty="0">
                <a:solidFill>
                  <a:srgbClr val="FF0000"/>
                </a:solidFill>
              </a:rPr>
              <a:t>Inclination: Right </a:t>
            </a:r>
          </a:p>
        </p:txBody>
      </p:sp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C1B0C9E6-3EB8-4B5C-A59E-6C28B9357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80" y="3665679"/>
            <a:ext cx="731520" cy="731520"/>
          </a:xfrm>
          <a:prstGeom prst="ellipse">
            <a:avLst/>
          </a:prstGeom>
          <a:ln w="76200" cap="rnd">
            <a:solidFill>
              <a:srgbClr val="7030A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">
            <a:extLst>
              <a:ext uri="{FF2B5EF4-FFF2-40B4-BE49-F238E27FC236}">
                <a16:creationId xmlns:a16="http://schemas.microsoft.com/office/drawing/2014/main" id="{0C430EE0-E9B8-4A81-B327-8CB6E4E08E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80" y="5076756"/>
            <a:ext cx="731520" cy="731520"/>
          </a:xfrm>
          <a:prstGeom prst="ellipse">
            <a:avLst/>
          </a:prstGeom>
          <a:ln w="63500" cap="rnd">
            <a:solidFill>
              <a:srgbClr val="7030A0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2130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</TotalTime>
  <Words>250</Words>
  <Application>Microsoft Office PowerPoint</Application>
  <PresentationFormat>Widescreen</PresentationFormat>
  <Paragraphs>4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chit Reddy Gayam</dc:creator>
  <cp:lastModifiedBy>Sachit Reddy Gayam</cp:lastModifiedBy>
  <cp:revision>1</cp:revision>
  <dcterms:created xsi:type="dcterms:W3CDTF">2021-03-01T14:29:46Z</dcterms:created>
  <dcterms:modified xsi:type="dcterms:W3CDTF">2021-03-01T18:28:29Z</dcterms:modified>
</cp:coreProperties>
</file>